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1" r:id="rId4"/>
  </p:sldMasterIdLst>
  <p:notesMasterIdLst>
    <p:notesMasterId r:id="rId7"/>
  </p:notesMasterIdLst>
  <p:handoutMasterIdLst>
    <p:handoutMasterId r:id="rId8"/>
  </p:handoutMasterIdLst>
  <p:sldIdLst>
    <p:sldId id="264" r:id="rId5"/>
    <p:sldId id="263" r:id="rId6"/>
  </p:sldIdLst>
  <p:sldSz cx="12192000" cy="6858000"/>
  <p:notesSz cx="6819900" cy="99187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6" autoAdjust="0"/>
    <p:restoredTop sz="77483" autoAdjust="0"/>
  </p:normalViewPr>
  <p:slideViewPr>
    <p:cSldViewPr snapToGrid="0">
      <p:cViewPr varScale="1">
        <p:scale>
          <a:sx n="87" d="100"/>
          <a:sy n="87" d="100"/>
        </p:scale>
        <p:origin x="846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79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5138" y="156643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74865" y="156643"/>
            <a:ext cx="277200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1000"/>
              <a:pPr/>
              <a:t>5/1/2020</a:t>
            </a:fld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5138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5" y="9686094"/>
            <a:ext cx="2556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1000"/>
              <a:pPr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  <p:extLst mod="1">
    <p:ext uri="{56416CCD-93CA-4268-BC5B-53C4BB910035}">
      <p15:sldGuideLst xmlns:p15="http://schemas.microsoft.com/office/powerpoint/2012/main">
        <p15:guide id="1" pos="234" userDrawn="1">
          <p15:clr>
            <a:srgbClr val="C35EA4"/>
          </p15:clr>
        </p15:guide>
        <p15:guide id="2" pos="3995" userDrawn="1">
          <p15:clr>
            <a:srgbClr val="C35EA4"/>
          </p15:clr>
        </p15:guide>
        <p15:guide id="3" orient="horz" pos="822" userDrawn="1">
          <p15:clr>
            <a:srgbClr val="C35EA4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9635" y="78718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000"/>
            </a:lvl1pPr>
          </a:lstStyle>
          <a:p>
            <a:fld id="{4AAE48C0-F8CF-41BB-AD86-35BC16D02E78}" type="datetimeFigureOut">
              <a:rPr lang="en-GB" smtClean="0"/>
              <a:pPr/>
              <a:t>01/05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4976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84926" y="9686094"/>
            <a:ext cx="2700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4976" y="4609578"/>
            <a:ext cx="5949950" cy="4684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474739" y="78718"/>
            <a:ext cx="2756758" cy="14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944563"/>
            <a:ext cx="5949950" cy="33480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896" userDrawn="1">
          <p15:clr>
            <a:srgbClr val="F26B43"/>
          </p15:clr>
        </p15:guide>
        <p15:guide id="2" orient="horz" pos="595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5212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8774" y="4228872"/>
            <a:ext cx="6143626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68263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7855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– Intern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pic>
        <p:nvPicPr>
          <p:cNvPr id="9" name="Danske Bank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7633" y="253006"/>
            <a:ext cx="1884167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2099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567" userDrawn="1">
          <p15:clr>
            <a:srgbClr val="F26B43"/>
          </p15:clr>
        </p15:guide>
        <p15:guide id="3" orient="horz" pos="3198" userDrawn="1">
          <p15:clr>
            <a:srgbClr val="F26B43"/>
          </p15:clr>
        </p15:guide>
        <p15:guide id="7" orient="horz" pos="3135" userDrawn="1">
          <p15:clr>
            <a:srgbClr val="F26B43"/>
          </p15:clr>
        </p15:guide>
        <p15:guide id="8" orient="horz" pos="3315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284198" y="1522800"/>
            <a:ext cx="7488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284198" y="1800000"/>
            <a:ext cx="748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4784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9">
          <p15:clr>
            <a:srgbClr val="F26B43"/>
          </p15:clr>
        </p15:guide>
        <p15:guide id="2" orient="horz" pos="41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9" userDrawn="1">
          <p15:clr>
            <a:srgbClr val="F26B43"/>
          </p15:clr>
        </p15:guide>
        <p15:guide id="5" pos="2696">
          <p15:clr>
            <a:srgbClr val="F26B43"/>
          </p15:clr>
        </p15:guide>
        <p15:guide id="7" orient="horz" pos="1115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1133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7488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748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8136198" y="1522800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8136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9808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4996">
          <p15:clr>
            <a:srgbClr val="F26B43"/>
          </p15:clr>
        </p15:guide>
        <p15:guide id="5" pos="5124">
          <p15:clr>
            <a:srgbClr val="F26B43"/>
          </p15:clr>
        </p15:guide>
        <p15:guide id="7" orient="horz" pos="1115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1133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284198" y="1522800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284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8136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8136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5074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9">
          <p15:clr>
            <a:srgbClr val="F26B43"/>
          </p15:clr>
        </p15:guide>
        <p15:guide id="2" orient="horz" pos="41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pos="4996">
          <p15:clr>
            <a:srgbClr val="F26B43"/>
          </p15:clr>
        </p15:guide>
        <p15:guide id="6" pos="2696">
          <p15:clr>
            <a:srgbClr val="F26B43"/>
          </p15:clr>
        </p15:guide>
        <p15:guide id="7" pos="5124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1115" userDrawn="1">
          <p15:clr>
            <a:srgbClr val="F26B43"/>
          </p15:clr>
        </p15:guide>
        <p15:guide id="12" orient="horz" pos="1133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9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998" y="1800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62089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6208998" y="4356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991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3" pos="3911">
          <p15:clr>
            <a:srgbClr val="F26B43"/>
          </p15:clr>
        </p15:guide>
        <p15:guide id="4" pos="3778">
          <p15:clr>
            <a:srgbClr val="F26B43"/>
          </p15:clr>
        </p15:guide>
        <p15:guide id="6" orient="horz" pos="2743">
          <p15:clr>
            <a:srgbClr val="F26B43"/>
          </p15:clr>
        </p15:guide>
        <p15:guide id="7" orient="horz" pos="410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2724">
          <p15:clr>
            <a:srgbClr val="F26B43"/>
          </p15:clr>
        </p15:guide>
        <p15:guide id="10" orient="horz" pos="2568">
          <p15:clr>
            <a:srgbClr val="F26B43"/>
          </p15:clr>
        </p15:guide>
        <p15:guide id="11" orient="horz" pos="2428">
          <p15:clr>
            <a:srgbClr val="F26B43"/>
          </p15:clr>
        </p15:guide>
        <p15:guide id="12" orient="horz" pos="1133" userDrawn="1">
          <p15:clr>
            <a:srgbClr val="F26B43"/>
          </p15:clr>
        </p15:guide>
        <p15:guide id="13" orient="horz" pos="1115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3205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9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9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90973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2920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3911">
          <p15:clr>
            <a:srgbClr val="F26B43"/>
          </p15:clr>
        </p15:guide>
        <p15:guide id="5" pos="2092">
          <p15:clr>
            <a:srgbClr val="F26B43"/>
          </p15:clr>
        </p15:guide>
        <p15:guide id="6" pos="3778">
          <p15:clr>
            <a:srgbClr val="F26B43"/>
          </p15:clr>
        </p15:guide>
        <p15:guide id="7" pos="5597">
          <p15:clr>
            <a:srgbClr val="F26B43"/>
          </p15:clr>
        </p15:guide>
        <p15:guide id="8" pos="5730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orient="horz" pos="410">
          <p15:clr>
            <a:srgbClr val="F26B43"/>
          </p15:clr>
        </p15:guide>
        <p15:guide id="11" orient="horz" pos="4258">
          <p15:clr>
            <a:srgbClr val="F26B43"/>
          </p15:clr>
        </p15:guide>
        <p15:guide id="12" orient="horz" pos="1115">
          <p15:clr>
            <a:srgbClr val="F26B43"/>
          </p15:clr>
        </p15:guide>
        <p15:guide id="13" orient="horz" pos="1133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4284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4284198" y="1800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4284198" y="4077169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4284198" y="4356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8136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8136198" y="1800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36198" y="4077169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8136198" y="4356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3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6437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9" userDrawn="1">
          <p15:clr>
            <a:srgbClr val="F26B43"/>
          </p15:clr>
        </p15:guide>
        <p15:guide id="2" orient="horz" pos="411" userDrawn="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4996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5124" userDrawn="1">
          <p15:clr>
            <a:srgbClr val="F26B43"/>
          </p15:clr>
        </p15:guide>
        <p15:guide id="11" orient="horz" pos="2428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2568" userDrawn="1">
          <p15:clr>
            <a:srgbClr val="F26B43"/>
          </p15:clr>
        </p15:guide>
        <p15:guide id="19" orient="horz" pos="2724" userDrawn="1">
          <p15:clr>
            <a:srgbClr val="F26B43"/>
          </p15:clr>
        </p15:guide>
        <p15:guide id="20" orient="horz" pos="1115" userDrawn="1">
          <p15:clr>
            <a:srgbClr val="F26B43"/>
          </p15:clr>
        </p15:guide>
        <p15:guide id="22" orient="horz" pos="2743" userDrawn="1">
          <p15:clr>
            <a:srgbClr val="F26B43"/>
          </p15:clr>
        </p15:guide>
        <p15:guide id="23" orient="horz" pos="4258" userDrawn="1">
          <p15:clr>
            <a:srgbClr val="F26B43"/>
          </p15:clr>
        </p15:guide>
        <p15:guide id="24" orient="horz" pos="1133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3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6208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62083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90973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9097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90973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3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1343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3" pos="3911">
          <p15:clr>
            <a:srgbClr val="F26B43"/>
          </p15:clr>
        </p15:guide>
        <p15:guide id="4" pos="3778">
          <p15:clr>
            <a:srgbClr val="F26B43"/>
          </p15:clr>
        </p15:guide>
        <p15:guide id="5" pos="5597">
          <p15:clr>
            <a:srgbClr val="F26B43"/>
          </p15:clr>
        </p15:guide>
        <p15:guide id="6" pos="5730">
          <p15:clr>
            <a:srgbClr val="F26B43"/>
          </p15:clr>
        </p15:guide>
        <p15:guide id="7" orient="horz" pos="958">
          <p15:clr>
            <a:srgbClr val="F26B43"/>
          </p15:clr>
        </p15:guide>
        <p15:guide id="8" orient="horz" pos="2743">
          <p15:clr>
            <a:srgbClr val="F26B43"/>
          </p15:clr>
        </p15:guide>
        <p15:guide id="9" orient="horz" pos="410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2724">
          <p15:clr>
            <a:srgbClr val="F26B43"/>
          </p15:clr>
        </p15:guide>
        <p15:guide id="12" orient="horz" pos="2568">
          <p15:clr>
            <a:srgbClr val="F26B43"/>
          </p15:clr>
        </p15:guide>
        <p15:guide id="13" orient="horz" pos="2428">
          <p15:clr>
            <a:srgbClr val="F26B43"/>
          </p15:clr>
        </p15:guide>
        <p15:guide id="14" orient="horz" pos="1115">
          <p15:clr>
            <a:srgbClr val="F26B43"/>
          </p15:clr>
        </p15:guide>
        <p15:guide id="15" orient="horz" pos="1133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3205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3205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3205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208997" y="1522800"/>
            <a:ext cx="5563199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208997" y="1800000"/>
            <a:ext cx="5563199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208997" y="4077169"/>
            <a:ext cx="5563199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208997" y="4356000"/>
            <a:ext cx="5563199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3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84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3911">
          <p15:clr>
            <a:srgbClr val="F26B43"/>
          </p15:clr>
        </p15:guide>
        <p15:guide id="5" pos="2092">
          <p15:clr>
            <a:srgbClr val="F26B43"/>
          </p15:clr>
        </p15:guide>
        <p15:guide id="6" pos="3778">
          <p15:clr>
            <a:srgbClr val="F26B43"/>
          </p15:clr>
        </p15:guide>
        <p15:guide id="7" orient="horz" pos="958">
          <p15:clr>
            <a:srgbClr val="F26B43"/>
          </p15:clr>
        </p15:guide>
        <p15:guide id="8" orient="horz" pos="2743">
          <p15:clr>
            <a:srgbClr val="F26B43"/>
          </p15:clr>
        </p15:guide>
        <p15:guide id="9" orient="horz" pos="410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2724">
          <p15:clr>
            <a:srgbClr val="F26B43"/>
          </p15:clr>
        </p15:guide>
        <p15:guide id="12" orient="horz" pos="2568">
          <p15:clr>
            <a:srgbClr val="F26B43"/>
          </p15:clr>
        </p15:guide>
        <p15:guide id="13" orient="horz" pos="2428">
          <p15:clr>
            <a:srgbClr val="F26B43"/>
          </p15:clr>
        </p15:guide>
        <p15:guide id="14" orient="horz" pos="1115">
          <p15:clr>
            <a:srgbClr val="F26B43"/>
          </p15:clr>
        </p15:guide>
        <p15:guide id="15" orient="horz" pos="1133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3205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3205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3205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2089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2089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2089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2089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DESCRIPTION Placeholder 7"/>
          <p:cNvSpPr>
            <a:spLocks noGrp="1"/>
          </p:cNvSpPr>
          <p:nvPr>
            <p:ph type="body" sz="quarter" idx="83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4"/>
          </p:nvPr>
        </p:nvSpPr>
        <p:spPr>
          <a:xfrm>
            <a:off x="90973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0" name="DESCRIPTION Placeholder 8"/>
          <p:cNvSpPr>
            <a:spLocks noGrp="1"/>
          </p:cNvSpPr>
          <p:nvPr>
            <p:ph type="body" sz="quarter" idx="85" hasCustomPrompt="1"/>
          </p:nvPr>
        </p:nvSpPr>
        <p:spPr>
          <a:xfrm>
            <a:off x="9097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43" name="CONTENT Placeholder 8"/>
          <p:cNvSpPr>
            <a:spLocks noGrp="1"/>
          </p:cNvSpPr>
          <p:nvPr>
            <p:ph sz="quarter" idx="86"/>
          </p:nvPr>
        </p:nvSpPr>
        <p:spPr>
          <a:xfrm>
            <a:off x="90973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3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9346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 userDrawn="1">
          <p15:clr>
            <a:srgbClr val="F26B43"/>
          </p15:clr>
        </p15:guide>
        <p15:guide id="3" orient="horz" pos="292" userDrawn="1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3911" userDrawn="1">
          <p15:clr>
            <a:srgbClr val="F26B43"/>
          </p15:clr>
        </p15:guide>
        <p15:guide id="7" pos="2092" userDrawn="1">
          <p15:clr>
            <a:srgbClr val="F26B43"/>
          </p15:clr>
        </p15:guide>
        <p15:guide id="8" pos="3778" userDrawn="1">
          <p15:clr>
            <a:srgbClr val="F26B43"/>
          </p15:clr>
        </p15:guide>
        <p15:guide id="9" pos="5597" userDrawn="1">
          <p15:clr>
            <a:srgbClr val="F26B43"/>
          </p15:clr>
        </p15:guide>
        <p15:guide id="10" pos="5730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2743" userDrawn="1">
          <p15:clr>
            <a:srgbClr val="F26B43"/>
          </p15:clr>
        </p15:guide>
        <p15:guide id="16" orient="horz" pos="410" userDrawn="1">
          <p15:clr>
            <a:srgbClr val="F26B43"/>
          </p15:clr>
        </p15:guide>
        <p15:guide id="18" orient="horz" pos="4258" userDrawn="1">
          <p15:clr>
            <a:srgbClr val="F26B43"/>
          </p15:clr>
        </p15:guide>
        <p15:guide id="19" orient="horz" pos="2724" userDrawn="1">
          <p15:clr>
            <a:srgbClr val="F26B43"/>
          </p15:clr>
        </p15:guide>
        <p15:guide id="20" orient="horz" pos="2568" userDrawn="1">
          <p15:clr>
            <a:srgbClr val="F26B43"/>
          </p15:clr>
        </p15:guide>
        <p15:guide id="21" orient="horz" pos="2428" userDrawn="1">
          <p15:clr>
            <a:srgbClr val="F26B43"/>
          </p15:clr>
        </p15:guide>
        <p15:guide id="22" orient="horz" pos="1115" userDrawn="1">
          <p15:clr>
            <a:srgbClr val="F26B43"/>
          </p15:clr>
        </p15:guide>
        <p15:guide id="24" orient="horz" pos="1133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Dark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6696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1799" y="1522800"/>
            <a:ext cx="6696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1798" y="1800000"/>
            <a:ext cx="6696001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6695601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pic" sz="quarter" idx="52" hasCustomPrompt="1"/>
          </p:nvPr>
        </p:nvSpPr>
        <p:spPr>
          <a:xfrm>
            <a:off x="10260198" y="252000"/>
            <a:ext cx="151200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blipFill>
                  <a:blip r:embed="rId3"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3516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0" userDrawn="1">
          <p15:clr>
            <a:srgbClr val="F26B43"/>
          </p15:clr>
        </p15:guide>
        <p15:guide id="2" orient="horz" pos="293">
          <p15:clr>
            <a:srgbClr val="F26B43"/>
          </p15:clr>
        </p15:guide>
        <p15:guide id="4" orient="horz" pos="959">
          <p15:clr>
            <a:srgbClr val="F26B43"/>
          </p15:clr>
        </p15:guide>
        <p15:guide id="8" orient="horz" pos="111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  <p15:guide id="12" orient="horz" pos="4258" userDrawn="1">
          <p15:clr>
            <a:srgbClr val="F26B43"/>
          </p15:clr>
        </p15:guide>
        <p15:guide id="13" pos="4495" userDrawn="1">
          <p15:clr>
            <a:srgbClr val="F26B43"/>
          </p15:clr>
        </p15:guide>
        <p15:guide id="14" orient="horz" pos="1133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auto">
          <a:xfrm>
            <a:off x="1588" y="0"/>
            <a:ext cx="12188825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000" y="254563"/>
            <a:ext cx="1882800" cy="246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485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3336" userDrawn="1">
          <p15:clr>
            <a:srgbClr val="F26B43"/>
          </p15:clr>
        </p15:guide>
        <p15:guide id="4" orient="horz" pos="2566" userDrawn="1">
          <p15:clr>
            <a:srgbClr val="F26B43"/>
          </p15:clr>
        </p15:guide>
        <p15:guide id="6" orient="horz" pos="3198" userDrawn="1">
          <p15:clr>
            <a:srgbClr val="F26B43"/>
          </p15:clr>
        </p15:guide>
        <p15:guide id="9" orient="horz" pos="3135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Light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6696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1799" y="1522800"/>
            <a:ext cx="669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1798" y="1800000"/>
            <a:ext cx="6696001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6695601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pic" sz="quarter" idx="52" hasCustomPrompt="1"/>
          </p:nvPr>
        </p:nvSpPr>
        <p:spPr>
          <a:xfrm>
            <a:off x="10260198" y="252000"/>
            <a:ext cx="151200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blipFill>
                  <a:blip r:embed="rId3"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93793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0" userDrawn="1">
          <p15:clr>
            <a:srgbClr val="F26B43"/>
          </p15:clr>
        </p15:guide>
        <p15:guide id="2" orient="horz" pos="293">
          <p15:clr>
            <a:srgbClr val="F26B43"/>
          </p15:clr>
        </p15:guide>
        <p15:guide id="4" orient="horz" pos="959">
          <p15:clr>
            <a:srgbClr val="F26B43"/>
          </p15:clr>
        </p15:guide>
        <p15:guide id="8" orient="horz" pos="111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  <p15:guide id="12" orient="horz" pos="4258" userDrawn="1">
          <p15:clr>
            <a:srgbClr val="F26B43"/>
          </p15:clr>
        </p15:guide>
        <p15:guide id="13" pos="4495" userDrawn="1">
          <p15:clr>
            <a:srgbClr val="F26B43"/>
          </p15:clr>
        </p15:guide>
        <p15:guide id="14" orient="horz" pos="1133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424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i="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3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378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6" orient="horz" pos="291" userDrawn="1">
          <p15:clr>
            <a:srgbClr val="F26B43"/>
          </p15:clr>
        </p15:guide>
        <p15:guide id="16" orient="horz" pos="410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3478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9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Midnigh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  <p:pic>
        <p:nvPicPr>
          <p:cNvPr id="5" name="Danske Bank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516" y="254563"/>
            <a:ext cx="1513284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6572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77" userDrawn="1">
          <p15:clr>
            <a:srgbClr val="F26B43"/>
          </p15:clr>
        </p15:guide>
        <p15:guide id="2" orient="horz" pos="2969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  <p:pic>
        <p:nvPicPr>
          <p:cNvPr id="4" name="Danske Bank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517" y="253006"/>
            <a:ext cx="1513283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3339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969" userDrawn="1">
          <p15:clr>
            <a:srgbClr val="F26B43"/>
          </p15:clr>
        </p15:guide>
        <p15:guide id="4" orient="horz" pos="2378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7" name="Danske Bank LOGO"/>
          <p:cNvSpPr>
            <a:spLocks noGrp="1"/>
          </p:cNvSpPr>
          <p:nvPr>
            <p:ph type="pic" sz="quarter" idx="52" hasCustomPrompt="1"/>
          </p:nvPr>
        </p:nvSpPr>
        <p:spPr>
          <a:xfrm>
            <a:off x="10260198" y="252000"/>
            <a:ext cx="151200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blipFill>
                  <a:blip r:embed="rId3"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88591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69" userDrawn="1">
          <p15:clr>
            <a:srgbClr val="F26B43"/>
          </p15:clr>
        </p15:guide>
        <p15:guide id="2" orient="horz" pos="2378" userDrawn="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7" name="Danske Bank LOGO"/>
          <p:cNvSpPr>
            <a:spLocks noGrp="1"/>
          </p:cNvSpPr>
          <p:nvPr>
            <p:ph type="pic" sz="quarter" idx="52" hasCustomPrompt="1"/>
          </p:nvPr>
        </p:nvSpPr>
        <p:spPr>
          <a:xfrm>
            <a:off x="10260198" y="252000"/>
            <a:ext cx="151200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blipFill>
                  <a:blip r:embed="rId3"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5217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69" userDrawn="1">
          <p15:clr>
            <a:srgbClr val="F26B43"/>
          </p15:clr>
        </p15:guide>
        <p15:guide id="2" orient="horz" pos="2378" userDrawn="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3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4906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pic" sz="quarter" idx="52" hasCustomPrompt="1"/>
          </p:nvPr>
        </p:nvSpPr>
        <p:spPr>
          <a:xfrm>
            <a:off x="10260198" y="252000"/>
            <a:ext cx="151200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blipFill>
                  <a:blip r:embed="rId3"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2143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959">
          <p15:clr>
            <a:srgbClr val="F26B43"/>
          </p15:clr>
        </p15:guide>
        <p15:guide id="7" pos="4495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pic" sz="quarter" idx="52" hasCustomPrompt="1"/>
          </p:nvPr>
        </p:nvSpPr>
        <p:spPr>
          <a:xfrm>
            <a:off x="10260198" y="252000"/>
            <a:ext cx="151200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blipFill>
                  <a:blip r:embed="rId3"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67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7" pos="4495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PATTERN"/>
          <p:cNvGrpSpPr>
            <a:grpSpLocks noChangeAspect="1"/>
          </p:cNvGrpSpPr>
          <p:nvPr userDrawn="1"/>
        </p:nvGrpSpPr>
        <p:grpSpPr bwMode="auto">
          <a:xfrm>
            <a:off x="1588" y="0"/>
            <a:ext cx="12188825" cy="6858000"/>
            <a:chOff x="1" y="0"/>
            <a:chExt cx="7678" cy="4320"/>
          </a:xfrm>
          <a:solidFill>
            <a:srgbClr val="CDE3ED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pic>
        <p:nvPicPr>
          <p:cNvPr id="17" name="Danske Bank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7633" y="253006"/>
            <a:ext cx="1884167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530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567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135">
          <p15:clr>
            <a:srgbClr val="F26B43"/>
          </p15:clr>
        </p15:guide>
        <p15:guide id="4" orient="horz" pos="3315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&gt;&gt;Do not use layouts after th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use"/>
          <p:cNvSpPr txBox="1"/>
          <p:nvPr userDrawn="1"/>
        </p:nvSpPr>
        <p:spPr>
          <a:xfrm>
            <a:off x="1627863" y="2099405"/>
            <a:ext cx="8936275" cy="26591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fontAlgn="auto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3600" b="1" noProof="0" dirty="0" smtClean="0">
                <a:solidFill>
                  <a:schemeClr val="bg1"/>
                </a:solidFill>
              </a:rPr>
              <a:t>If you see any layouts after this, </a:t>
            </a:r>
            <a:r>
              <a:rPr lang="en-US" sz="3600" b="1" noProof="0" dirty="0" smtClean="0">
                <a:solidFill>
                  <a:srgbClr val="E65A6D"/>
                </a:solidFill>
              </a:rPr>
              <a:t>DO NOT </a:t>
            </a:r>
            <a:br>
              <a:rPr lang="en-US" sz="3600" b="1" noProof="0" dirty="0" smtClean="0">
                <a:solidFill>
                  <a:srgbClr val="E65A6D"/>
                </a:solidFill>
              </a:rPr>
            </a:br>
            <a:r>
              <a:rPr lang="en-US" sz="3600" b="1" noProof="0" dirty="0" smtClean="0">
                <a:solidFill>
                  <a:schemeClr val="bg1"/>
                </a:solidFill>
              </a:rPr>
              <a:t>use these. The layouts have been copied from other templates at some point and are not part of Danske Bank’s official template.</a:t>
            </a:r>
            <a:endParaRPr lang="en-GB" sz="3600" baseline="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42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/>
              <a:t>01/05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152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bIns="0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4" name="Danske Bank LOGO"/>
          <p:cNvSpPr>
            <a:spLocks noGrp="1"/>
          </p:cNvSpPr>
          <p:nvPr>
            <p:ph type="pic" sz="quarter" idx="32" hasCustomPrompt="1"/>
          </p:nvPr>
        </p:nvSpPr>
        <p:spPr>
          <a:xfrm>
            <a:off x="9889000" y="252000"/>
            <a:ext cx="1882800" cy="24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33002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566" userDrawn="1">
          <p15:clr>
            <a:srgbClr val="F26B43"/>
          </p15:clr>
        </p15:guide>
        <p15:guide id="3" orient="horz" pos="3198" userDrawn="1">
          <p15:clr>
            <a:srgbClr val="F26B43"/>
          </p15:clr>
        </p15:guide>
        <p15:guide id="5" orient="horz" pos="3135" userDrawn="1">
          <p15:clr>
            <a:srgbClr val="F26B43"/>
          </p15:clr>
        </p15:guide>
        <p15:guide id="8" orient="horz" pos="3315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003755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4" name="Danske Bank LOGO"/>
          <p:cNvSpPr>
            <a:spLocks noGrp="1"/>
          </p:cNvSpPr>
          <p:nvPr>
            <p:ph type="pic" sz="quarter" idx="32" hasCustomPrompt="1"/>
          </p:nvPr>
        </p:nvSpPr>
        <p:spPr>
          <a:xfrm>
            <a:off x="9889000" y="252000"/>
            <a:ext cx="1882800" cy="24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87080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135" userDrawn="1">
          <p15:clr>
            <a:srgbClr val="F26B43"/>
          </p15:clr>
        </p15:guide>
        <p15:guide id="2" orient="horz" pos="3198" userDrawn="1">
          <p15:clr>
            <a:srgbClr val="F26B43"/>
          </p15:clr>
        </p15:guide>
        <p15:guide id="3" orient="horz" pos="3315" userDrawn="1">
          <p15:clr>
            <a:srgbClr val="F26B43"/>
          </p15:clr>
        </p15:guide>
        <p15:guide id="4" orient="horz" pos="2567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11340000" cy="487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5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392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411" userDrawn="1">
          <p15:clr>
            <a:srgbClr val="F26B43"/>
          </p15:clr>
        </p15:guide>
        <p15:guide id="3" orient="horz" pos="293" userDrawn="1">
          <p15:clr>
            <a:srgbClr val="F26B43"/>
          </p15:clr>
        </p15:guide>
        <p15:guide id="16" orient="horz" pos="4178" userDrawn="1">
          <p15:clr>
            <a:srgbClr val="F26B43"/>
          </p15:clr>
        </p15:guide>
        <p15:guide id="17" orient="horz" pos="4258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scri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6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863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111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4258">
          <p15:clr>
            <a:srgbClr val="F26B43"/>
          </p15:clr>
        </p15:guide>
        <p15:guide id="0" orient="horz" pos="1133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584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584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213798" y="1522800"/>
            <a:ext cx="55584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6213798" y="1800000"/>
            <a:ext cx="55584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23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292">
          <p15:clr>
            <a:srgbClr val="F26B43"/>
          </p15:clr>
        </p15:guide>
        <p15:guide id="6" pos="3776" userDrawn="1">
          <p15:clr>
            <a:srgbClr val="F26B43"/>
          </p15:clr>
        </p15:guide>
        <p15:guide id="12" orient="horz" pos="411" userDrawn="1">
          <p15:clr>
            <a:srgbClr val="F26B43"/>
          </p15:clr>
        </p15:guide>
        <p15:guide id="13" orient="horz" pos="889" userDrawn="1">
          <p15:clr>
            <a:srgbClr val="F26B43"/>
          </p15:clr>
        </p15:guide>
        <p15:guide id="15" orient="horz" pos="4178" userDrawn="1">
          <p15:clr>
            <a:srgbClr val="F26B43"/>
          </p15:clr>
        </p15:guide>
        <p15:guide id="16" orient="horz" pos="4258" userDrawn="1">
          <p15:clr>
            <a:srgbClr val="F26B43"/>
          </p15:clr>
        </p15:guide>
        <p15:guide id="17" orient="horz" pos="1115" userDrawn="1">
          <p15:clr>
            <a:srgbClr val="F26B43"/>
          </p15:clr>
        </p15:guide>
        <p15:guide id="18" pos="3914" userDrawn="1">
          <p15:clr>
            <a:srgbClr val="F26B43"/>
          </p15:clr>
        </p15:guide>
        <p15:guide id="19" orient="horz" pos="1133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11340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11340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387" y="250748"/>
            <a:ext cx="1511811" cy="19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445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4" orient="horz" pos="2743">
          <p15:clr>
            <a:srgbClr val="F26B43"/>
          </p15:clr>
        </p15:guide>
        <p15:guide id="5" orient="horz" pos="410">
          <p15:clr>
            <a:srgbClr val="F26B43"/>
          </p15:clr>
        </p15:guide>
        <p15:guide id="6" orient="horz" pos="4258">
          <p15:clr>
            <a:srgbClr val="F26B43"/>
          </p15:clr>
        </p15:guide>
        <p15:guide id="7" orient="horz" pos="2724">
          <p15:clr>
            <a:srgbClr val="F26B43"/>
          </p15:clr>
        </p15:guide>
        <p15:guide id="8" orient="horz" pos="2568">
          <p15:clr>
            <a:srgbClr val="F26B43"/>
          </p15:clr>
        </p15:guide>
        <p15:guide id="9" orient="horz" pos="2428">
          <p15:clr>
            <a:srgbClr val="F26B43"/>
          </p15:clr>
        </p15:guide>
        <p15:guide id="10" orient="horz" pos="1115">
          <p15:clr>
            <a:srgbClr val="F26B43"/>
          </p15:clr>
        </p15:guide>
        <p15:guide id="11" orient="horz" pos="1133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placeholder 1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add Slide Title – increase font size for large audience – max. two lines</a:t>
            </a:r>
            <a:endParaRPr lang="en-GB" noProof="0" dirty="0"/>
          </a:p>
        </p:txBody>
      </p:sp>
      <p:sp>
        <p:nvSpPr>
          <p:cNvPr id="5" name="TEXT placeholder 1"/>
          <p:cNvSpPr>
            <a:spLocks noGrp="1"/>
          </p:cNvSpPr>
          <p:nvPr>
            <p:ph type="body" idx="1"/>
          </p:nvPr>
        </p:nvSpPr>
        <p:spPr>
          <a:xfrm>
            <a:off x="432197" y="1522800"/>
            <a:ext cx="11340000" cy="487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31" name="FOOTER placeholder"/>
          <p:cNvSpPr>
            <a:spLocks noGrp="1"/>
          </p:cNvSpPr>
          <p:nvPr>
            <p:ph type="ftr" sz="quarter" idx="3"/>
          </p:nvPr>
        </p:nvSpPr>
        <p:spPr>
          <a:xfrm>
            <a:off x="8155320" y="6649625"/>
            <a:ext cx="3276000" cy="10772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>
              <a:defRPr lang="en-GB" sz="700" spc="10" baseline="0">
                <a:solidFill>
                  <a:srgbClr val="7B8185"/>
                </a:solidFill>
                <a:latin typeface="+mn-lt"/>
              </a:defRPr>
            </a:lvl1pPr>
          </a:lstStyle>
          <a:p>
            <a:endParaRPr lang="da-DK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2"/>
          </p:nvPr>
        </p:nvSpPr>
        <p:spPr>
          <a:xfrm>
            <a:off x="432197" y="6956422"/>
            <a:ext cx="2088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247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803" r:id="rId3"/>
    <p:sldLayoutId id="2147483731" r:id="rId4"/>
    <p:sldLayoutId id="2147483772" r:id="rId5"/>
    <p:sldLayoutId id="2147483789" r:id="rId6"/>
    <p:sldLayoutId id="2147483802" r:id="rId7"/>
    <p:sldLayoutId id="2147483788" r:id="rId8"/>
    <p:sldLayoutId id="2147483801" r:id="rId9"/>
    <p:sldLayoutId id="2147483800" r:id="rId10"/>
    <p:sldLayoutId id="2147483799" r:id="rId11"/>
    <p:sldLayoutId id="2147483798" r:id="rId12"/>
    <p:sldLayoutId id="2147483797" r:id="rId13"/>
    <p:sldLayoutId id="2147483796" r:id="rId14"/>
    <p:sldLayoutId id="2147483779" r:id="rId15"/>
    <p:sldLayoutId id="2147483795" r:id="rId16"/>
    <p:sldLayoutId id="2147483794" r:id="rId17"/>
    <p:sldLayoutId id="2147483776" r:id="rId18"/>
    <p:sldLayoutId id="2147483792" r:id="rId19"/>
    <p:sldLayoutId id="2147483793" r:id="rId20"/>
    <p:sldLayoutId id="2147483724" r:id="rId21"/>
    <p:sldLayoutId id="2147483782" r:id="rId22"/>
    <p:sldLayoutId id="2147483728" r:id="rId23"/>
    <p:sldLayoutId id="2147483729" r:id="rId24"/>
    <p:sldLayoutId id="2147483773" r:id="rId25"/>
    <p:sldLayoutId id="2147483774" r:id="rId26"/>
    <p:sldLayoutId id="2147483806" r:id="rId27"/>
    <p:sldLayoutId id="2147483804" r:id="rId28"/>
    <p:sldLayoutId id="2147483805" r:id="rId29"/>
    <p:sldLayoutId id="2147483722" r:id="rId30"/>
    <p:sldLayoutId id="2147483808" r:id="rId3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400" b="0" kern="1200" baseline="0" noProof="0" dirty="0">
          <a:solidFill>
            <a:srgbClr val="003755"/>
          </a:solidFill>
          <a:latin typeface="+mj-lt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romanL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9" userDrawn="1">
          <p15:clr>
            <a:srgbClr val="F26B43"/>
          </p15:clr>
        </p15:guide>
        <p15:guide id="2" pos="271" userDrawn="1">
          <p15:clr>
            <a:srgbClr val="F26B43"/>
          </p15:clr>
        </p15:guide>
        <p15:guide id="3" pos="7416" userDrawn="1">
          <p15:clr>
            <a:srgbClr val="F26B43"/>
          </p15:clr>
        </p15:guide>
        <p15:guide id="4" orient="horz" pos="457" userDrawn="1">
          <p15:clr>
            <a:srgbClr val="F26B43"/>
          </p15:clr>
        </p15:guide>
        <p15:guide id="5" orient="horz" pos="889" userDrawn="1">
          <p15:clr>
            <a:srgbClr val="F26B43"/>
          </p15:clr>
        </p15:guide>
        <p15:guide id="6" orient="horz" pos="40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8.emf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1" name="Object 15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/>
          <p:cNvSpPr>
            <a:spLocks noGrp="1"/>
          </p:cNvSpPr>
          <p:nvPr>
            <p:ph type="title"/>
          </p:nvPr>
        </p:nvSpPr>
        <p:spPr>
          <a:xfrm>
            <a:off x="431900" y="728663"/>
            <a:ext cx="11332800" cy="332399"/>
          </a:xfrm>
        </p:spPr>
        <p:txBody>
          <a:bodyPr/>
          <a:lstStyle/>
          <a:p>
            <a:r>
              <a:rPr lang="da-DK" dirty="0" smtClean="0"/>
              <a:t>CCO-området</a:t>
            </a:r>
            <a:endParaRPr lang="da-DK" dirty="0"/>
          </a:p>
        </p:txBody>
      </p:sp>
      <p:graphicFrame>
        <p:nvGraphicFramePr>
          <p:cNvPr id="79" name="Object 78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43219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3219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PE Text Placeholder 145"/>
          <p:cNvSpPr txBox="1">
            <a:spLocks/>
          </p:cNvSpPr>
          <p:nvPr/>
        </p:nvSpPr>
        <p:spPr>
          <a:xfrm>
            <a:off x="5184280" y="1294672"/>
            <a:ext cx="1828039" cy="612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da-DK" sz="1400" dirty="0" smtClean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da-DK" sz="1400" dirty="0" smtClean="0">
                <a:solidFill>
                  <a:schemeClr val="bg1"/>
                </a:solidFill>
              </a:rPr>
              <a:t>CCO</a:t>
            </a:r>
          </a:p>
          <a:p>
            <a:pPr marL="0" indent="0" algn="ctr">
              <a:buNone/>
            </a:pPr>
            <a:r>
              <a:rPr lang="da-DK" sz="1400" dirty="0" smtClean="0">
                <a:solidFill>
                  <a:schemeClr val="bg1"/>
                </a:solidFill>
              </a:rPr>
              <a:t>Søren Lockwood </a:t>
            </a:r>
          </a:p>
          <a:p>
            <a:pPr marL="0" indent="0" algn="ctr">
              <a:buNone/>
            </a:pPr>
            <a:endParaRPr lang="da-DK" sz="1400" dirty="0">
              <a:solidFill>
                <a:schemeClr val="bg1"/>
              </a:solidFill>
            </a:endParaRPr>
          </a:p>
        </p:txBody>
      </p:sp>
      <p:sp>
        <p:nvSpPr>
          <p:cNvPr id="96" name="PE Text Placeholder 154"/>
          <p:cNvSpPr txBox="1">
            <a:spLocks/>
          </p:cNvSpPr>
          <p:nvPr/>
        </p:nvSpPr>
        <p:spPr>
          <a:xfrm>
            <a:off x="2728766" y="3254852"/>
            <a:ext cx="1499250" cy="61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Large </a:t>
            </a:r>
            <a:r>
              <a:rPr lang="da-DK" sz="1200" b="1" dirty="0" err="1" smtClean="0"/>
              <a:t>Corporates</a:t>
            </a:r>
            <a:endParaRPr lang="da-DK" sz="1200" b="1" dirty="0" smtClean="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Ulla Højland Jensen</a:t>
            </a:r>
            <a:endParaRPr lang="da-DK" sz="1200" b="1" dirty="0"/>
          </a:p>
        </p:txBody>
      </p:sp>
      <p:sp>
        <p:nvSpPr>
          <p:cNvPr id="98" name="PE Text Placeholder 210"/>
          <p:cNvSpPr txBox="1">
            <a:spLocks/>
          </p:cNvSpPr>
          <p:nvPr/>
        </p:nvSpPr>
        <p:spPr>
          <a:xfrm>
            <a:off x="1050200" y="3257522"/>
            <a:ext cx="1499250" cy="612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Business</a:t>
            </a:r>
          </a:p>
          <a:p>
            <a:pPr marL="0" indent="0" algn="ctr">
              <a:buNone/>
            </a:pPr>
            <a:r>
              <a:rPr lang="da-DK" sz="1200" b="1" dirty="0"/>
              <a:t>Morten Nymark </a:t>
            </a:r>
          </a:p>
        </p:txBody>
      </p:sp>
      <p:sp>
        <p:nvSpPr>
          <p:cNvPr id="100" name="PE Text Placeholder 148"/>
          <p:cNvSpPr txBox="1">
            <a:spLocks/>
          </p:cNvSpPr>
          <p:nvPr/>
        </p:nvSpPr>
        <p:spPr>
          <a:xfrm>
            <a:off x="4407332" y="3254852"/>
            <a:ext cx="1499250" cy="612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Broker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Dorte Bilsgaard</a:t>
            </a:r>
            <a:endParaRPr lang="da-DK" sz="1200" b="1" dirty="0"/>
          </a:p>
        </p:txBody>
      </p:sp>
      <p:sp>
        <p:nvSpPr>
          <p:cNvPr id="101" name="PE Text Placeholder 178"/>
          <p:cNvSpPr txBox="1">
            <a:spLocks/>
          </p:cNvSpPr>
          <p:nvPr/>
        </p:nvSpPr>
        <p:spPr>
          <a:xfrm>
            <a:off x="6091625" y="3254852"/>
            <a:ext cx="1499250" cy="612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Commercial </a:t>
            </a:r>
            <a:r>
              <a:rPr lang="da-DK" sz="1200" b="1" dirty="0" err="1" smtClean="0"/>
              <a:t>Partnerships</a:t>
            </a:r>
            <a:endParaRPr lang="da-DK" sz="1200" b="1" dirty="0" smtClean="0"/>
          </a:p>
          <a:p>
            <a:pPr marL="0" indent="0" algn="ctr">
              <a:buNone/>
            </a:pPr>
            <a:r>
              <a:rPr lang="da-DK" sz="1200" b="1" dirty="0"/>
              <a:t>Allan Tange</a:t>
            </a:r>
          </a:p>
        </p:txBody>
      </p:sp>
      <p:sp>
        <p:nvSpPr>
          <p:cNvPr id="102" name="PE Text Placeholder 166"/>
          <p:cNvSpPr txBox="1">
            <a:spLocks/>
          </p:cNvSpPr>
          <p:nvPr/>
        </p:nvSpPr>
        <p:spPr>
          <a:xfrm>
            <a:off x="9460211" y="3254852"/>
            <a:ext cx="1499250" cy="612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err="1" smtClean="0"/>
              <a:t>Retirement</a:t>
            </a:r>
            <a:endParaRPr lang="da-DK" sz="1200" b="1" dirty="0" smtClean="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Signe Strøbech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Damgaard</a:t>
            </a:r>
            <a:endParaRPr lang="da-DK" sz="1200" b="1" dirty="0"/>
          </a:p>
        </p:txBody>
      </p:sp>
      <p:sp>
        <p:nvSpPr>
          <p:cNvPr id="27" name="PE Text Placeholder 160"/>
          <p:cNvSpPr txBox="1">
            <a:spLocks/>
          </p:cNvSpPr>
          <p:nvPr/>
        </p:nvSpPr>
        <p:spPr>
          <a:xfrm>
            <a:off x="1076704" y="4037313"/>
            <a:ext cx="1473946" cy="53955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1200" dirty="0" smtClean="0"/>
              <a:t>Pension for </a:t>
            </a:r>
            <a:r>
              <a:rPr lang="da-DK" sz="1200" dirty="0" err="1"/>
              <a:t>S</a:t>
            </a:r>
            <a:r>
              <a:rPr lang="da-DK" sz="1200" dirty="0" err="1" smtClean="0"/>
              <a:t>elfemployed</a:t>
            </a:r>
            <a:endParaRPr lang="da-DK" sz="1200" dirty="0" smtClean="0"/>
          </a:p>
          <a:p>
            <a:pPr marL="0" indent="0" algn="ctr">
              <a:buNone/>
            </a:pPr>
            <a:r>
              <a:rPr lang="da-DK" sz="1200" dirty="0" smtClean="0"/>
              <a:t>Jens Dahlgaard</a:t>
            </a:r>
            <a:endParaRPr lang="da-DK" sz="1200" dirty="0"/>
          </a:p>
        </p:txBody>
      </p:sp>
      <p:sp>
        <p:nvSpPr>
          <p:cNvPr id="29" name="PE Text Placeholder 184"/>
          <p:cNvSpPr txBox="1">
            <a:spLocks/>
          </p:cNvSpPr>
          <p:nvPr/>
        </p:nvSpPr>
        <p:spPr>
          <a:xfrm>
            <a:off x="1075504" y="4682537"/>
            <a:ext cx="1473946" cy="61985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Digital Sales &amp; Customer Car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Kenneth Jakobsen</a:t>
            </a:r>
            <a:endParaRPr lang="da-DK" sz="1200" dirty="0">
              <a:solidFill>
                <a:schemeClr val="dk1"/>
              </a:solidFill>
            </a:endParaRPr>
          </a:p>
        </p:txBody>
      </p:sp>
      <p:sp>
        <p:nvSpPr>
          <p:cNvPr id="35" name="PE Text Placeholder 184"/>
          <p:cNvSpPr txBox="1">
            <a:spLocks/>
          </p:cNvSpPr>
          <p:nvPr/>
        </p:nvSpPr>
        <p:spPr>
          <a:xfrm>
            <a:off x="1075504" y="5408069"/>
            <a:ext cx="1473946" cy="3600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 smtClean="0"/>
              <a:t>New Business</a:t>
            </a:r>
          </a:p>
          <a:p>
            <a:pPr marL="0" indent="0" algn="ctr">
              <a:buNone/>
            </a:pPr>
            <a:r>
              <a:rPr lang="en-US" sz="1200" dirty="0"/>
              <a:t>Bo </a:t>
            </a:r>
            <a:r>
              <a:rPr lang="en-US" sz="1200" dirty="0" smtClean="0"/>
              <a:t>Madsen</a:t>
            </a:r>
            <a:endParaRPr lang="en-US" sz="1200" dirty="0"/>
          </a:p>
        </p:txBody>
      </p:sp>
      <p:sp>
        <p:nvSpPr>
          <p:cNvPr id="49" name="PE Text Placeholder 160"/>
          <p:cNvSpPr txBox="1">
            <a:spLocks/>
          </p:cNvSpPr>
          <p:nvPr/>
        </p:nvSpPr>
        <p:spPr>
          <a:xfrm>
            <a:off x="2804017" y="4035586"/>
            <a:ext cx="1423999" cy="732583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/>
              <a:t>Strategic </a:t>
            </a:r>
            <a:r>
              <a:rPr lang="da-DK" sz="1200" dirty="0" err="1" smtClean="0"/>
              <a:t>Corporates</a:t>
            </a:r>
            <a:endParaRPr lang="da-DK" sz="1200" dirty="0" smtClean="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/>
              <a:t>Ulla Højland Jensen</a:t>
            </a:r>
            <a:endParaRPr lang="da-DK" sz="1200" dirty="0"/>
          </a:p>
        </p:txBody>
      </p:sp>
      <p:sp>
        <p:nvSpPr>
          <p:cNvPr id="50" name="PE Text Placeholder 172"/>
          <p:cNvSpPr txBox="1">
            <a:spLocks/>
          </p:cNvSpPr>
          <p:nvPr/>
        </p:nvSpPr>
        <p:spPr>
          <a:xfrm>
            <a:off x="2802817" y="4872613"/>
            <a:ext cx="1423999" cy="3600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Large </a:t>
            </a:r>
            <a:r>
              <a:rPr lang="da-DK" sz="1200" dirty="0" err="1" smtClean="0">
                <a:solidFill>
                  <a:sysClr val="windowText" lastClr="000000"/>
                </a:solidFill>
              </a:rPr>
              <a:t>Corporates</a:t>
            </a:r>
            <a:endParaRPr lang="da-DK" sz="1200" dirty="0" smtClean="0">
              <a:solidFill>
                <a:sysClr val="windowText" lastClr="000000"/>
              </a:solidFill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René Bo Jacobsen</a:t>
            </a:r>
            <a:endParaRPr lang="da-DK" sz="1200" dirty="0">
              <a:solidFill>
                <a:sysClr val="windowText" lastClr="000000"/>
              </a:solidFill>
            </a:endParaRPr>
          </a:p>
        </p:txBody>
      </p:sp>
      <p:sp>
        <p:nvSpPr>
          <p:cNvPr id="61" name="PE Text Placeholder 172"/>
          <p:cNvSpPr txBox="1">
            <a:spLocks/>
          </p:cNvSpPr>
          <p:nvPr/>
        </p:nvSpPr>
        <p:spPr>
          <a:xfrm>
            <a:off x="1061396" y="5873743"/>
            <a:ext cx="1488054" cy="50865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Danica Partner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Anders Ruskjær</a:t>
            </a:r>
            <a:endParaRPr lang="da-DK" sz="1200" dirty="0">
              <a:solidFill>
                <a:sysClr val="windowText" lastClr="000000"/>
              </a:solidFill>
            </a:endParaRPr>
          </a:p>
        </p:txBody>
      </p:sp>
      <p:sp>
        <p:nvSpPr>
          <p:cNvPr id="86" name="PE Text Placeholder 145"/>
          <p:cNvSpPr txBox="1">
            <a:spLocks/>
          </p:cNvSpPr>
          <p:nvPr/>
        </p:nvSpPr>
        <p:spPr>
          <a:xfrm>
            <a:off x="2828962" y="2090387"/>
            <a:ext cx="1697749" cy="70566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err="1" smtClean="0"/>
              <a:t>Relationship</a:t>
            </a:r>
            <a:r>
              <a:rPr lang="da-DK" sz="1200" b="1" dirty="0" smtClean="0"/>
              <a:t> Managemen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/>
              <a:t>Ole Mathiassen</a:t>
            </a:r>
            <a:endParaRPr lang="da-DK" sz="1200" dirty="0"/>
          </a:p>
        </p:txBody>
      </p:sp>
      <p:sp>
        <p:nvSpPr>
          <p:cNvPr id="57" name="PE Text Placeholder 172"/>
          <p:cNvSpPr txBox="1">
            <a:spLocks/>
          </p:cNvSpPr>
          <p:nvPr/>
        </p:nvSpPr>
        <p:spPr>
          <a:xfrm>
            <a:off x="2802817" y="5337057"/>
            <a:ext cx="1423999" cy="55047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Large Sales &amp; International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Lars Koldby</a:t>
            </a:r>
            <a:endParaRPr lang="da-DK" sz="1200" dirty="0">
              <a:solidFill>
                <a:sysClr val="windowText" lastClr="000000"/>
              </a:solidFill>
            </a:endParaRPr>
          </a:p>
        </p:txBody>
      </p:sp>
      <p:sp>
        <p:nvSpPr>
          <p:cNvPr id="75" name="PE Text Placeholder 178"/>
          <p:cNvSpPr txBox="1">
            <a:spLocks/>
          </p:cNvSpPr>
          <p:nvPr/>
        </p:nvSpPr>
        <p:spPr>
          <a:xfrm>
            <a:off x="7775918" y="3254852"/>
            <a:ext cx="1499250" cy="612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Personal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Heidi Verup</a:t>
            </a:r>
            <a:endParaRPr lang="da-DK" sz="1200" b="1" dirty="0"/>
          </a:p>
        </p:txBody>
      </p:sp>
      <p:sp>
        <p:nvSpPr>
          <p:cNvPr id="108" name="PE Text Placeholder 160"/>
          <p:cNvSpPr txBox="1">
            <a:spLocks/>
          </p:cNvSpPr>
          <p:nvPr/>
        </p:nvSpPr>
        <p:spPr>
          <a:xfrm>
            <a:off x="7917927" y="4035586"/>
            <a:ext cx="1351217" cy="3600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Danica Direc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Jeannette Baess</a:t>
            </a:r>
          </a:p>
        </p:txBody>
      </p:sp>
      <p:sp>
        <p:nvSpPr>
          <p:cNvPr id="109" name="PE Text Placeholder 172"/>
          <p:cNvSpPr txBox="1">
            <a:spLocks/>
          </p:cNvSpPr>
          <p:nvPr/>
        </p:nvSpPr>
        <p:spPr>
          <a:xfrm>
            <a:off x="7917927" y="4516084"/>
            <a:ext cx="1351217" cy="3600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Sales &amp; Care    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 Lars Dalsted</a:t>
            </a:r>
          </a:p>
        </p:txBody>
      </p:sp>
      <p:sp>
        <p:nvSpPr>
          <p:cNvPr id="110" name="PE Text Placeholder 184"/>
          <p:cNvSpPr txBox="1">
            <a:spLocks/>
          </p:cNvSpPr>
          <p:nvPr/>
        </p:nvSpPr>
        <p:spPr>
          <a:xfrm>
            <a:off x="7917927" y="4992466"/>
            <a:ext cx="1351217" cy="3600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chemeClr val="dk1"/>
                </a:solidFill>
              </a:rPr>
              <a:t>Service &amp; Care Heidi Verup</a:t>
            </a:r>
            <a:endParaRPr lang="da-DK" sz="1800" dirty="0" smtClean="0">
              <a:solidFill>
                <a:schemeClr val="dk1"/>
              </a:solidFill>
            </a:endParaRPr>
          </a:p>
        </p:txBody>
      </p:sp>
      <p:sp>
        <p:nvSpPr>
          <p:cNvPr id="45" name="PE Text Placeholder 145"/>
          <p:cNvSpPr txBox="1">
            <a:spLocks/>
          </p:cNvSpPr>
          <p:nvPr/>
        </p:nvSpPr>
        <p:spPr>
          <a:xfrm>
            <a:off x="7868385" y="2090387"/>
            <a:ext cx="1697749" cy="70566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b="1" dirty="0" smtClean="0"/>
              <a:t>CCO Offic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/>
              <a:t>Philip Juliussen</a:t>
            </a:r>
            <a:endParaRPr lang="da-DK" sz="1200" dirty="0"/>
          </a:p>
        </p:txBody>
      </p:sp>
      <p:cxnSp>
        <p:nvCxnSpPr>
          <p:cNvPr id="10" name="Elbow Connector 9"/>
          <p:cNvCxnSpPr>
            <a:stCxn id="75" idx="1"/>
            <a:endCxn id="110" idx="1"/>
          </p:cNvCxnSpPr>
          <p:nvPr/>
        </p:nvCxnSpPr>
        <p:spPr>
          <a:xfrm rot="10800000" flipH="1" flipV="1">
            <a:off x="7775917" y="3560852"/>
            <a:ext cx="142009" cy="1611614"/>
          </a:xfrm>
          <a:prstGeom prst="bentConnector3">
            <a:avLst>
              <a:gd name="adj1" fmla="val -27485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75" idx="1"/>
            <a:endCxn id="109" idx="1"/>
          </p:cNvCxnSpPr>
          <p:nvPr/>
        </p:nvCxnSpPr>
        <p:spPr>
          <a:xfrm rot="10800000" flipH="1" flipV="1">
            <a:off x="7775917" y="3560852"/>
            <a:ext cx="142009" cy="1135232"/>
          </a:xfrm>
          <a:prstGeom prst="bentConnector3">
            <a:avLst>
              <a:gd name="adj1" fmla="val -27484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stCxn id="75" idx="1"/>
            <a:endCxn id="108" idx="1"/>
          </p:cNvCxnSpPr>
          <p:nvPr/>
        </p:nvCxnSpPr>
        <p:spPr>
          <a:xfrm rot="10800000" flipH="1" flipV="1">
            <a:off x="7775917" y="3560852"/>
            <a:ext cx="142009" cy="654734"/>
          </a:xfrm>
          <a:prstGeom prst="bentConnector3">
            <a:avLst>
              <a:gd name="adj1" fmla="val -27483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96" idx="1"/>
            <a:endCxn id="57" idx="1"/>
          </p:cNvCxnSpPr>
          <p:nvPr/>
        </p:nvCxnSpPr>
        <p:spPr>
          <a:xfrm rot="10800000" flipH="1" flipV="1">
            <a:off x="2728765" y="3560851"/>
            <a:ext cx="74051" cy="2051441"/>
          </a:xfrm>
          <a:prstGeom prst="bentConnector3">
            <a:avLst>
              <a:gd name="adj1" fmla="val -52706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96" idx="1"/>
            <a:endCxn id="50" idx="1"/>
          </p:cNvCxnSpPr>
          <p:nvPr/>
        </p:nvCxnSpPr>
        <p:spPr>
          <a:xfrm rot="10800000" flipH="1" flipV="1">
            <a:off x="2728765" y="3560851"/>
            <a:ext cx="74051" cy="1491761"/>
          </a:xfrm>
          <a:prstGeom prst="bentConnector3">
            <a:avLst>
              <a:gd name="adj1" fmla="val -52706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96" idx="1"/>
            <a:endCxn id="49" idx="1"/>
          </p:cNvCxnSpPr>
          <p:nvPr/>
        </p:nvCxnSpPr>
        <p:spPr>
          <a:xfrm rot="10800000" flipH="1" flipV="1">
            <a:off x="2728765" y="3560852"/>
            <a:ext cx="75251" cy="841026"/>
          </a:xfrm>
          <a:prstGeom prst="bentConnector3">
            <a:avLst>
              <a:gd name="adj1" fmla="val -51865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98" idx="1"/>
            <a:endCxn id="61" idx="1"/>
          </p:cNvCxnSpPr>
          <p:nvPr/>
        </p:nvCxnSpPr>
        <p:spPr>
          <a:xfrm rot="10800000" flipH="1" flipV="1">
            <a:off x="1050200" y="3563522"/>
            <a:ext cx="11196" cy="2564546"/>
          </a:xfrm>
          <a:prstGeom prst="bentConnector3">
            <a:avLst>
              <a:gd name="adj1" fmla="val -746999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98" idx="1"/>
            <a:endCxn id="35" idx="1"/>
          </p:cNvCxnSpPr>
          <p:nvPr/>
        </p:nvCxnSpPr>
        <p:spPr>
          <a:xfrm rot="10800000" flipH="1" flipV="1">
            <a:off x="1050200" y="3563521"/>
            <a:ext cx="25304" cy="2024547"/>
          </a:xfrm>
          <a:prstGeom prst="bentConnector3">
            <a:avLst>
              <a:gd name="adj1" fmla="val -330517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98" idx="1"/>
            <a:endCxn id="29" idx="1"/>
          </p:cNvCxnSpPr>
          <p:nvPr/>
        </p:nvCxnSpPr>
        <p:spPr>
          <a:xfrm rot="10800000" flipH="1" flipV="1">
            <a:off x="1050200" y="3563522"/>
            <a:ext cx="25304" cy="1428944"/>
          </a:xfrm>
          <a:prstGeom prst="bentConnector3">
            <a:avLst>
              <a:gd name="adj1" fmla="val -330521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stCxn id="98" idx="1"/>
            <a:endCxn id="27" idx="1"/>
          </p:cNvCxnSpPr>
          <p:nvPr/>
        </p:nvCxnSpPr>
        <p:spPr>
          <a:xfrm rot="10800000" flipH="1" flipV="1">
            <a:off x="1050200" y="3563522"/>
            <a:ext cx="26504" cy="743566"/>
          </a:xfrm>
          <a:prstGeom prst="bentConnector3">
            <a:avLst>
              <a:gd name="adj1" fmla="val -315552"/>
            </a:avLst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>
            <a:off x="1746232" y="3029396"/>
            <a:ext cx="8458200" cy="19050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5975332" y="1906672"/>
            <a:ext cx="0" cy="1122724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stCxn id="86" idx="6"/>
            <a:endCxn id="45" idx="2"/>
          </p:cNvCxnSpPr>
          <p:nvPr/>
        </p:nvCxnSpPr>
        <p:spPr>
          <a:xfrm>
            <a:off x="4526711" y="2443221"/>
            <a:ext cx="3341674" cy="0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6232" y="3029396"/>
            <a:ext cx="0" cy="225456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3514816" y="3038921"/>
            <a:ext cx="0" cy="225456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5184280" y="3038921"/>
            <a:ext cx="0" cy="225456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6841250" y="3038921"/>
            <a:ext cx="0" cy="225456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8525543" y="3044176"/>
            <a:ext cx="0" cy="225456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10204432" y="3048446"/>
            <a:ext cx="0" cy="225456"/>
          </a:xfrm>
          <a:prstGeom prst="line">
            <a:avLst/>
          </a:prstGeom>
          <a:ln w="9525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E Text Placeholder 172"/>
          <p:cNvSpPr txBox="1">
            <a:spLocks/>
          </p:cNvSpPr>
          <p:nvPr/>
        </p:nvSpPr>
        <p:spPr>
          <a:xfrm>
            <a:off x="2802816" y="5991972"/>
            <a:ext cx="1423999" cy="50798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176400" indent="-1764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9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4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936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GB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International</a:t>
            </a:r>
            <a:endParaRPr lang="da-DK" sz="1200" dirty="0" smtClean="0">
              <a:solidFill>
                <a:sysClr val="windowText" lastClr="000000"/>
              </a:solidFill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200" dirty="0" smtClean="0">
                <a:solidFill>
                  <a:sysClr val="windowText" lastClr="000000"/>
                </a:solidFill>
              </a:rPr>
              <a:t>Jens Runing</a:t>
            </a:r>
            <a:endParaRPr lang="da-DK" sz="1200" dirty="0">
              <a:solidFill>
                <a:sysClr val="windowText" lastClr="000000"/>
              </a:solidFill>
            </a:endParaRPr>
          </a:p>
        </p:txBody>
      </p:sp>
      <p:cxnSp>
        <p:nvCxnSpPr>
          <p:cNvPr id="46" name="Straight Connector 45"/>
          <p:cNvCxnSpPr>
            <a:stCxn id="57" idx="2"/>
            <a:endCxn id="43" idx="0"/>
          </p:cNvCxnSpPr>
          <p:nvPr/>
        </p:nvCxnSpPr>
        <p:spPr>
          <a:xfrm flipH="1">
            <a:off x="3514816" y="5887528"/>
            <a:ext cx="1" cy="104444"/>
          </a:xfrm>
          <a:prstGeom prst="line">
            <a:avLst/>
          </a:prstGeom>
          <a:ln w="19050" cap="rnd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9363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Elbow Connector 41"/>
          <p:cNvCxnSpPr/>
          <p:nvPr/>
        </p:nvCxnSpPr>
        <p:spPr>
          <a:xfrm rot="16200000" flipH="1">
            <a:off x="5354047" y="2616012"/>
            <a:ext cx="1299368" cy="2313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/>
          <p:nvPr/>
        </p:nvCxnSpPr>
        <p:spPr>
          <a:xfrm rot="16200000" flipH="1">
            <a:off x="7856665" y="3990605"/>
            <a:ext cx="491437" cy="208267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 rot="16200000" flipH="1">
            <a:off x="4851158" y="3901415"/>
            <a:ext cx="505763" cy="176437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/>
          <p:nvPr/>
        </p:nvCxnSpPr>
        <p:spPr>
          <a:xfrm rot="16200000" flipH="1">
            <a:off x="4730950" y="5242321"/>
            <a:ext cx="761826" cy="192738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/>
          <p:nvPr/>
        </p:nvCxnSpPr>
        <p:spPr>
          <a:xfrm rot="16200000" flipH="1">
            <a:off x="4697446" y="4474812"/>
            <a:ext cx="824946" cy="187549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/>
          <p:nvPr/>
        </p:nvCxnSpPr>
        <p:spPr>
          <a:xfrm rot="16200000" flipH="1">
            <a:off x="1709931" y="3754299"/>
            <a:ext cx="834846" cy="209859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/>
          <p:nvPr/>
        </p:nvCxnSpPr>
        <p:spPr>
          <a:xfrm rot="16200000" flipH="1">
            <a:off x="1633117" y="5078101"/>
            <a:ext cx="976152" cy="200794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60"/>
          <p:cNvCxnSpPr/>
          <p:nvPr/>
        </p:nvCxnSpPr>
        <p:spPr>
          <a:xfrm rot="16200000" flipH="1">
            <a:off x="878212" y="5080929"/>
            <a:ext cx="2476897" cy="195137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/>
          <p:nvPr/>
        </p:nvCxnSpPr>
        <p:spPr>
          <a:xfrm rot="16200000" flipH="1">
            <a:off x="1854342" y="4599700"/>
            <a:ext cx="533702" cy="200794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/>
          <p:nvPr/>
        </p:nvCxnSpPr>
        <p:spPr>
          <a:xfrm rot="16200000" flipH="1">
            <a:off x="6852895" y="1442481"/>
            <a:ext cx="1302538" cy="2998933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/>
          <p:nvPr/>
        </p:nvCxnSpPr>
        <p:spPr>
          <a:xfrm rot="5400000">
            <a:off x="3871028" y="1454196"/>
            <a:ext cx="1302538" cy="2975505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ivat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1937981" y="3163343"/>
            <a:ext cx="2162175" cy="685676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b="1" dirty="0" smtClean="0">
                <a:solidFill>
                  <a:schemeClr val="tx1"/>
                </a:solidFill>
              </a:rPr>
              <a:t>Danica Direct</a:t>
            </a:r>
          </a:p>
          <a:p>
            <a:pPr algn="ctr"/>
            <a:r>
              <a:rPr lang="da-DK" sz="1400" dirty="0">
                <a:solidFill>
                  <a:schemeClr val="tx1"/>
                </a:solidFill>
              </a:rPr>
              <a:t>Jeannette </a:t>
            </a:r>
            <a:r>
              <a:rPr lang="da-DK" sz="1400" dirty="0" smtClean="0">
                <a:solidFill>
                  <a:schemeClr val="tx1"/>
                </a:solidFill>
              </a:rPr>
              <a:t>Baes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920575" y="3163343"/>
            <a:ext cx="2157548" cy="685676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 smtClean="0">
                <a:solidFill>
                  <a:schemeClr val="tx1"/>
                </a:solidFill>
              </a:rPr>
              <a:t>Sales &amp; Care</a:t>
            </a:r>
          </a:p>
          <a:p>
            <a:pPr algn="ctr"/>
            <a:r>
              <a:rPr lang="en-GB" sz="1400" dirty="0">
                <a:solidFill>
                  <a:schemeClr val="tx1"/>
                </a:solidFill>
              </a:rPr>
              <a:t>Lars </a:t>
            </a:r>
            <a:r>
              <a:rPr lang="en-GB" sz="1400" dirty="0" smtClean="0">
                <a:solidFill>
                  <a:schemeClr val="tx1"/>
                </a:solidFill>
              </a:rPr>
              <a:t>Dalsted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912420" y="3163343"/>
            <a:ext cx="2162174" cy="685676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b="1" dirty="0" smtClean="0">
                <a:solidFill>
                  <a:schemeClr val="tx1"/>
                </a:solidFill>
              </a:rPr>
              <a:t>Service &amp; Care</a:t>
            </a:r>
          </a:p>
          <a:p>
            <a:pPr algn="ctr"/>
            <a:r>
              <a:rPr lang="en-GB" sz="1400" dirty="0">
                <a:solidFill>
                  <a:schemeClr val="tx1"/>
                </a:solidFill>
              </a:rPr>
              <a:t>Heidi </a:t>
            </a:r>
            <a:r>
              <a:rPr lang="en-GB" sz="1400" dirty="0" smtClean="0">
                <a:solidFill>
                  <a:schemeClr val="tx1"/>
                </a:solidFill>
              </a:rPr>
              <a:t>Verup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58" name="Elbow Connector 57"/>
          <p:cNvCxnSpPr/>
          <p:nvPr/>
        </p:nvCxnSpPr>
        <p:spPr>
          <a:xfrm rot="5400000">
            <a:off x="5169234" y="1665749"/>
            <a:ext cx="457965" cy="1208336"/>
          </a:xfrm>
          <a:prstGeom prst="bentConnector2">
            <a:avLst/>
          </a:prstGeom>
          <a:ln w="9525" cap="sq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/>
        </p:nvSpPr>
        <p:spPr>
          <a:xfrm>
            <a:off x="3019068" y="2179177"/>
            <a:ext cx="1769484" cy="659822"/>
          </a:xfrm>
          <a:prstGeom prst="ellipse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b="1" dirty="0" smtClean="0">
                <a:solidFill>
                  <a:schemeClr val="dk1"/>
                </a:solidFill>
              </a:rPr>
              <a:t>Sales Partner</a:t>
            </a:r>
          </a:p>
          <a:p>
            <a:pPr algn="ctr"/>
            <a:r>
              <a:rPr lang="da-DK" sz="1400" dirty="0" smtClean="0">
                <a:solidFill>
                  <a:schemeClr val="dk1"/>
                </a:solidFill>
              </a:rPr>
              <a:t>Iben Venø </a:t>
            </a:r>
            <a:endParaRPr lang="da-DK" sz="1400" dirty="0">
              <a:solidFill>
                <a:schemeClr val="dk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229688" y="3958599"/>
            <a:ext cx="1843088" cy="51435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dk1"/>
                </a:solidFill>
              </a:rPr>
              <a:t>VIP &amp; </a:t>
            </a:r>
            <a:r>
              <a:rPr lang="en-GB" sz="1400" b="1" dirty="0" err="1" smtClean="0">
                <a:solidFill>
                  <a:schemeClr val="dk1"/>
                </a:solidFill>
              </a:rPr>
              <a:t>Formue</a:t>
            </a:r>
            <a:endParaRPr lang="en-GB" sz="1400" b="1" dirty="0" smtClean="0">
              <a:solidFill>
                <a:schemeClr val="dk1"/>
              </a:solidFill>
            </a:endParaRPr>
          </a:p>
          <a:p>
            <a:pPr algn="ctr"/>
            <a:r>
              <a:rPr lang="en-GB" sz="1400" dirty="0" smtClean="0">
                <a:solidFill>
                  <a:schemeClr val="dk1"/>
                </a:solidFill>
              </a:rPr>
              <a:t>Lars Dalsted</a:t>
            </a:r>
            <a:endParaRPr lang="en-GB" sz="1400" dirty="0">
              <a:solidFill>
                <a:schemeClr val="dk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241124" y="4663679"/>
            <a:ext cx="1843088" cy="51435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b="1" dirty="0" smtClean="0">
              <a:solidFill>
                <a:schemeClr val="dk1"/>
              </a:solidFill>
            </a:endParaRPr>
          </a:p>
          <a:p>
            <a:pPr algn="ctr"/>
            <a:r>
              <a:rPr lang="da-DK" sz="1400" b="1" dirty="0" smtClean="0">
                <a:solidFill>
                  <a:schemeClr val="dk1"/>
                </a:solidFill>
              </a:rPr>
              <a:t>Rådgivning Øst</a:t>
            </a:r>
            <a:endParaRPr lang="en-GB" sz="1400" b="1" dirty="0" smtClean="0">
              <a:solidFill>
                <a:schemeClr val="dk1"/>
              </a:solidFill>
            </a:endParaRPr>
          </a:p>
          <a:p>
            <a:pPr algn="ctr"/>
            <a:r>
              <a:rPr lang="en-GB" sz="1400" dirty="0" smtClean="0">
                <a:solidFill>
                  <a:schemeClr val="dk1"/>
                </a:solidFill>
              </a:rPr>
              <a:t>Jan </a:t>
            </a:r>
            <a:r>
              <a:rPr lang="en-GB" sz="1400" dirty="0" err="1" smtClean="0">
                <a:solidFill>
                  <a:schemeClr val="dk1"/>
                </a:solidFill>
              </a:rPr>
              <a:t>Hornuff</a:t>
            </a:r>
            <a:endParaRPr lang="en-GB" sz="1400" dirty="0" smtClean="0">
              <a:solidFill>
                <a:schemeClr val="dk1"/>
              </a:solidFill>
            </a:endParaRPr>
          </a:p>
          <a:p>
            <a:pPr algn="ctr"/>
            <a:endParaRPr lang="en-GB" sz="1400" b="1" dirty="0" smtClean="0">
              <a:solidFill>
                <a:schemeClr val="dk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253746" y="3958598"/>
            <a:ext cx="1843088" cy="65106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 smtClean="0">
                <a:solidFill>
                  <a:schemeClr val="dk1"/>
                </a:solidFill>
              </a:rPr>
              <a:t>Team 1</a:t>
            </a:r>
            <a:endParaRPr lang="en-GB" sz="1400" b="1" dirty="0">
              <a:solidFill>
                <a:schemeClr val="dk1"/>
              </a:solidFill>
            </a:endParaRPr>
          </a:p>
          <a:p>
            <a:pPr algn="ctr"/>
            <a:r>
              <a:rPr lang="en-GB" sz="1400" dirty="0" smtClean="0">
                <a:solidFill>
                  <a:schemeClr val="dk1"/>
                </a:solidFill>
              </a:rPr>
              <a:t>Louise Munch</a:t>
            </a:r>
          </a:p>
        </p:txBody>
      </p:sp>
      <p:sp>
        <p:nvSpPr>
          <p:cNvPr id="55" name="Rectangle 54"/>
          <p:cNvSpPr/>
          <p:nvPr/>
        </p:nvSpPr>
        <p:spPr>
          <a:xfrm>
            <a:off x="2253746" y="5392645"/>
            <a:ext cx="1843088" cy="634966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b="1" dirty="0" smtClean="0">
                <a:solidFill>
                  <a:schemeClr val="dk1"/>
                </a:solidFill>
              </a:rPr>
              <a:t>Team 3</a:t>
            </a:r>
          </a:p>
          <a:p>
            <a:pPr algn="ctr"/>
            <a:r>
              <a:rPr lang="da-DK" sz="1400" dirty="0" smtClean="0">
                <a:solidFill>
                  <a:schemeClr val="dk1"/>
                </a:solidFill>
              </a:rPr>
              <a:t>René Moon </a:t>
            </a:r>
            <a:endParaRPr lang="en-GB" sz="1400" dirty="0" smtClean="0">
              <a:solidFill>
                <a:schemeClr val="dk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245662" y="5435686"/>
            <a:ext cx="1843088" cy="51435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 err="1" smtClean="0">
                <a:solidFill>
                  <a:schemeClr val="dk1"/>
                </a:solidFill>
              </a:rPr>
              <a:t>Rådgivning</a:t>
            </a:r>
            <a:r>
              <a:rPr lang="en-GB" sz="1400" b="1" dirty="0" smtClean="0">
                <a:solidFill>
                  <a:schemeClr val="dk1"/>
                </a:solidFill>
              </a:rPr>
              <a:t> Vest</a:t>
            </a:r>
          </a:p>
          <a:p>
            <a:pPr algn="ctr"/>
            <a:r>
              <a:rPr lang="da-DK" sz="1400" dirty="0" smtClean="0">
                <a:solidFill>
                  <a:schemeClr val="dk1"/>
                </a:solidFill>
              </a:rPr>
              <a:t>Irene Limose</a:t>
            </a:r>
            <a:endParaRPr lang="en-GB" sz="1400" dirty="0" smtClean="0">
              <a:solidFill>
                <a:schemeClr val="dk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253746" y="4675456"/>
            <a:ext cx="1843088" cy="65139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b="1" dirty="0" smtClean="0">
                <a:solidFill>
                  <a:schemeClr val="tx1"/>
                </a:solidFill>
              </a:rPr>
              <a:t>Team 2</a:t>
            </a:r>
          </a:p>
          <a:p>
            <a:pPr algn="ctr"/>
            <a:r>
              <a:rPr lang="da-DK" sz="1400" dirty="0" smtClean="0">
                <a:solidFill>
                  <a:schemeClr val="tx1"/>
                </a:solidFill>
              </a:rPr>
              <a:t>Nicklas B. Hansen</a:t>
            </a:r>
            <a:endParaRPr lang="en-GB" sz="1400" dirty="0" smtClean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253746" y="6093409"/>
            <a:ext cx="1843088" cy="521653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b="1" dirty="0" smtClean="0">
                <a:solidFill>
                  <a:schemeClr val="dk1"/>
                </a:solidFill>
              </a:rPr>
              <a:t>Rådgiverservice</a:t>
            </a:r>
          </a:p>
          <a:p>
            <a:pPr algn="ctr"/>
            <a:r>
              <a:rPr lang="da-DK" sz="1400" dirty="0" smtClean="0">
                <a:solidFill>
                  <a:schemeClr val="dk1"/>
                </a:solidFill>
              </a:rPr>
              <a:t>Jan Delpierre</a:t>
            </a:r>
            <a:endParaRPr lang="en-GB" sz="1400" dirty="0" smtClean="0">
              <a:solidFill>
                <a:schemeClr val="dk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8213492" y="3958598"/>
            <a:ext cx="1861102" cy="514098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 smtClean="0">
                <a:solidFill>
                  <a:schemeClr val="dk1"/>
                </a:solidFill>
              </a:rPr>
              <a:t>Retirement</a:t>
            </a:r>
          </a:p>
          <a:p>
            <a:pPr algn="ctr"/>
            <a:r>
              <a:rPr lang="en-GB" sz="1400" dirty="0" smtClean="0">
                <a:solidFill>
                  <a:schemeClr val="dk1"/>
                </a:solidFill>
              </a:rPr>
              <a:t>Kenneth Grøndal</a:t>
            </a:r>
            <a:endParaRPr lang="en-GB" sz="1400" dirty="0">
              <a:solidFill>
                <a:schemeClr val="dk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920575" y="1508733"/>
            <a:ext cx="2152921" cy="617252"/>
          </a:xfrm>
          <a:prstGeom prst="rect">
            <a:avLst/>
          </a:prstGeom>
          <a:solidFill>
            <a:srgbClr val="003755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Personal   </a:t>
            </a:r>
          </a:p>
          <a:p>
            <a:pPr algn="ctr"/>
            <a:r>
              <a:rPr lang="da-DK" sz="1600" dirty="0" smtClean="0">
                <a:solidFill>
                  <a:schemeClr val="bg1"/>
                </a:solidFill>
              </a:rPr>
              <a:t>Heidi Verup</a:t>
            </a:r>
            <a:endParaRPr lang="en-GB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7396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CHANGETRACKING" val="true"/>
  <p:tag name="UNDO_REDO_REVISIO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056183b-caa4-4306-943b-26647eb1b932"/>
  <p:tag name="MIO_UPDATE" val="True"/>
  <p:tag name="MIO_VERSION" val="03.09.2018 11:57:01"/>
  <p:tag name="MIO_DBID" val="5D9FD29E-BEEC-40D7-BFBE-407D9085DE5F"/>
  <p:tag name="MIO_LASTDOWNLOADED" val="03.09.2018 12:33:05"/>
  <p:tag name="MIO_OBJECTNAME" val="Danica Pension"/>
  <p:tag name="MIO_LASTEDITORNAME" val="Daniel J"/>
  <p:tag name="MIO_CDID" val="36049262-a2dc-48ca-9f47-69cada2ed7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8fd7430-4049-4f4d-93cd-81573e976000"/>
  <p:tag name="MIO_EKGUID" val="1549be9a-445b-4fda-a737-90e44d9c8e6f"/>
  <p:tag name="MIO_UPDATE" val="True"/>
  <p:tag name="MIO_VERSION" val="14.09.2017 15:50:33"/>
  <p:tag name="MIO_DBID" val="5D9FD29E-BEEC-40D7-BFBE-407D9085DE5F"/>
  <p:tag name="MIO_LASTDOWNLOADED" val="23.09.2018 22:05:27"/>
  <p:tag name="MIO_OBJECTNAME" val="Org chart vertical layout 6"/>
  <p:tag name="MIO_LASTEDITORNAME" val="Daniel J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descreen - Danica Pension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6350" cap="rnd">
          <a:noFill/>
          <a:round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rgbClr val="003755"/>
          </a:buCl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003755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rnd">
          <a:noFill/>
        </a:ln>
      </a:spPr>
      <a:bodyPr wrap="non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buClr>
            <a:schemeClr val="accent1"/>
          </a:buClr>
          <a:buFont typeface="Danske Text" panose="00000400000000000000" pitchFamily="2" charset="0"/>
          <a:buNone/>
          <a:defRPr sz="14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Presentation2" id="{3EF39EB6-CDBB-4F68-8CE6-73EB1A8016BA}" vid="{F4734BA8-C6B8-4E9F-9CAA-E3CCFFDA3551}"/>
    </a:ext>
  </a:extLst>
</a:theme>
</file>

<file path=ppt/theme/theme2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E5EBEE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E5EBEE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AC2275C336634A8785D9151A32F889" ma:contentTypeVersion="0" ma:contentTypeDescription="Create a new document." ma:contentTypeScope="" ma:versionID="837daaafbd83eedeca0c65dc8fc2cde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A1F4691-3D0B-46F3-ABD2-D23E867863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E3DE5E0-CD50-45D4-BA8C-74BAF66765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0F12B2-43B9-46CD-B1CE-F17D45ACBA4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057</TotalTime>
  <Words>145</Words>
  <Application>Microsoft Office PowerPoint</Application>
  <PresentationFormat>Widescreen</PresentationFormat>
  <Paragraphs>7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Danske Human Medium Italic</vt:lpstr>
      <vt:lpstr>Danske Text</vt:lpstr>
      <vt:lpstr>Widescreen - Danica Pension</vt:lpstr>
      <vt:lpstr>think-cell Slide</vt:lpstr>
      <vt:lpstr>CCO-området</vt:lpstr>
      <vt:lpstr>Privat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alie Bondesen Rasmussen</dc:creator>
  <cp:lastModifiedBy>Susan Majbrit Sandager Larsen</cp:lastModifiedBy>
  <cp:revision>41</cp:revision>
  <cp:lastPrinted>2019-11-27T15:20:25Z</cp:lastPrinted>
  <dcterms:created xsi:type="dcterms:W3CDTF">2018-11-23T06:55:32Z</dcterms:created>
  <dcterms:modified xsi:type="dcterms:W3CDTF">2020-05-01T09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AC2275C336634A8785D9151A32F889</vt:lpwstr>
  </property>
</Properties>
</file>